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4"/>
  </p:sldMasterIdLst>
  <p:notesMasterIdLst>
    <p:notesMasterId r:id="rId6"/>
  </p:notesMasterIdLst>
  <p:handoutMasterIdLst>
    <p:handoutMasterId r:id="rId7"/>
  </p:handoutMasterIdLst>
  <p:sldIdLst>
    <p:sldId id="274" r:id="rId5"/>
  </p:sldIdLst>
  <p:sldSz cx="10691813" cy="1511935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417"/>
    <a:srgbClr val="6D67A5"/>
    <a:srgbClr val="2C388E"/>
    <a:srgbClr val="D3916D"/>
    <a:srgbClr val="D99705"/>
    <a:srgbClr val="623F2D"/>
    <a:srgbClr val="E9A97E"/>
    <a:srgbClr val="E6A37B"/>
    <a:srgbClr val="62402F"/>
    <a:srgbClr val="F6CC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245F58-E797-6242-88E2-56E91A5144E6}" v="2" dt="2022-09-24T19:13:57.8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46" autoAdjust="0"/>
    <p:restoredTop sz="95782" autoAdjust="0"/>
  </p:normalViewPr>
  <p:slideViewPr>
    <p:cSldViewPr snapToGrid="0" snapToObjects="1" showGuides="1">
      <p:cViewPr>
        <p:scale>
          <a:sx n="50" d="100"/>
          <a:sy n="50" d="100"/>
        </p:scale>
        <p:origin x="768" y="-16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0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26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45907" y="0"/>
            <a:ext cx="5345906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5345907" cy="755967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5345907" cy="251989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4" y="944960"/>
            <a:ext cx="4800179" cy="453160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4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1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8287208" y="0"/>
            <a:ext cx="2404605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0691813" cy="1511935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579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3" y="6359289"/>
            <a:ext cx="6505579" cy="696409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6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4" y="748407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886173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8287207" y="0"/>
            <a:ext cx="2404606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10691813" cy="1511935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579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3" y="6367368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4" y="748407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974237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475232" y="-1"/>
            <a:ext cx="6216582" cy="15119352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1"/>
            <a:ext cx="7817250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79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4" y="6412569"/>
            <a:ext cx="4611581" cy="1147109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5" y="8298848"/>
            <a:ext cx="4611581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475231" y="1"/>
            <a:ext cx="6216582" cy="15119352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1"/>
            <a:ext cx="7817250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79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4" y="6412569"/>
            <a:ext cx="4611581" cy="1147109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5" y="8298848"/>
            <a:ext cx="4611581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475231" y="0"/>
            <a:ext cx="6216582" cy="15119350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1"/>
            <a:ext cx="7817250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79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4" y="6412568"/>
            <a:ext cx="4611581" cy="1147109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5" y="8298848"/>
            <a:ext cx="4611581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475232" y="0"/>
            <a:ext cx="6216582" cy="15119350"/>
          </a:xfrm>
          <a:prstGeom prst="rect">
            <a:avLst/>
          </a:prstGeom>
          <a:solidFill>
            <a:srgbClr val="DEDEDE"/>
          </a:solidFill>
        </p:spPr>
        <p:txBody>
          <a:bodyPr rIns="1371600" anchor="ctr" anchorCtr="0"/>
          <a:lstStyle>
            <a:lvl1pPr algn="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1"/>
            <a:ext cx="7817250" cy="15119352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79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4" y="6412568"/>
            <a:ext cx="4611581" cy="1147109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5" y="8298848"/>
            <a:ext cx="4611581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677668" y="0"/>
            <a:ext cx="6014145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5" y="7054857"/>
            <a:ext cx="4099919" cy="50481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385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4" y="8721923"/>
            <a:ext cx="4099920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74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414" y="952403"/>
            <a:ext cx="9914986" cy="43178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[</a:t>
            </a:r>
            <a:r>
              <a:rPr lang="pl-PL" dirty="0"/>
              <a:t>Action </a:t>
            </a:r>
            <a:r>
              <a:rPr lang="en-US" dirty="0"/>
              <a:t>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414" y="952404"/>
            <a:ext cx="9914986" cy="43178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88413" y="2319930"/>
            <a:ext cx="9914987" cy="32393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994236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937149"/>
              </p:ext>
            </p:extLst>
          </p:nvPr>
        </p:nvGraphicFramePr>
        <p:xfrm>
          <a:off x="1393" y="3502"/>
          <a:ext cx="1392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3502"/>
                        <a:ext cx="1392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414" y="952404"/>
            <a:ext cx="9914986" cy="43178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88413" y="2319930"/>
            <a:ext cx="9914987" cy="32393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388414" y="13885383"/>
            <a:ext cx="9914986" cy="101246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658" b="0">
                <a:solidFill>
                  <a:schemeClr val="tx1"/>
                </a:solidFill>
              </a:defRPr>
            </a:lvl1pPr>
            <a:lvl2pPr>
              <a:defRPr sz="658">
                <a:solidFill>
                  <a:schemeClr val="tx1"/>
                </a:solidFill>
              </a:defRPr>
            </a:lvl2pPr>
            <a:lvl3pPr>
              <a:defRPr sz="658">
                <a:solidFill>
                  <a:schemeClr val="tx1"/>
                </a:solidFill>
              </a:defRPr>
            </a:lvl3pPr>
            <a:lvl4pPr>
              <a:defRPr sz="658">
                <a:solidFill>
                  <a:schemeClr val="tx1"/>
                </a:solidFill>
              </a:defRPr>
            </a:lvl4pPr>
            <a:lvl5pPr>
              <a:defRPr sz="658">
                <a:solidFill>
                  <a:schemeClr val="tx1"/>
                </a:solidFill>
              </a:defRPr>
            </a:lvl5pPr>
          </a:lstStyle>
          <a:p>
            <a:pPr lvl="0"/>
            <a:r>
              <a:rPr lang="pl-PL" dirty="0"/>
              <a:t>Source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639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7100032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7100032" cy="251989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11" name="Rectangle 10"/>
          <p:cNvSpPr/>
          <p:nvPr/>
        </p:nvSpPr>
        <p:spPr bwMode="hidden">
          <a:xfrm>
            <a:off x="7100032" y="0"/>
            <a:ext cx="3591781" cy="7559675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3" y="5611397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5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ulaRa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EC846B7-ABE0-4DBA-B9D0-4E726FE768DD}"/>
              </a:ext>
            </a:extLst>
          </p:cNvPr>
          <p:cNvSpPr/>
          <p:nvPr userDrawn="1"/>
        </p:nvSpPr>
        <p:spPr>
          <a:xfrm>
            <a:off x="0" y="0"/>
            <a:ext cx="628650" cy="8150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FB7D971-CEC8-406A-9522-E007DA86EC95}"/>
              </a:ext>
            </a:extLst>
          </p:cNvPr>
          <p:cNvSpPr/>
          <p:nvPr userDrawn="1"/>
        </p:nvSpPr>
        <p:spPr>
          <a:xfrm>
            <a:off x="10063163" y="14304341"/>
            <a:ext cx="628650" cy="8150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954800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3" userDrawn="1">
          <p15:clr>
            <a:srgbClr val="FBAE40"/>
          </p15:clr>
        </p15:guide>
        <p15:guide id="2" orient="horz" pos="195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345906" y="0"/>
            <a:ext cx="5345907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414" y="952404"/>
            <a:ext cx="4578824" cy="4317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3"/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176580"/>
              </p:ext>
            </p:extLst>
          </p:nvPr>
        </p:nvGraphicFramePr>
        <p:xfrm>
          <a:off x="1393" y="3502"/>
          <a:ext cx="1392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3502"/>
                        <a:ext cx="1392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3712477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0849" y="952403"/>
            <a:ext cx="6202551" cy="4317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170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2" userDrawn="1">
          <p15:clr>
            <a:srgbClr val="FBAE40"/>
          </p15:clr>
        </p15:guide>
        <p15:guide id="2" pos="234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 la Digital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642826"/>
              </p:ext>
            </p:extLst>
          </p:nvPr>
        </p:nvGraphicFramePr>
        <p:xfrm>
          <a:off x="1393" y="3502"/>
          <a:ext cx="1392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3502"/>
                        <a:ext cx="1392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3712477" cy="15119350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0849" y="952404"/>
            <a:ext cx="6202551" cy="4317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100849" y="2319930"/>
            <a:ext cx="6202551" cy="32393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18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2" userDrawn="1">
          <p15:clr>
            <a:srgbClr val="FBAE40"/>
          </p15:clr>
        </p15:guide>
        <p15:guide id="2" pos="234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1" y="3671343"/>
            <a:ext cx="3483192" cy="993607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88415" y="4254768"/>
            <a:ext cx="2919365" cy="3830235"/>
          </a:xfrm>
          <a:prstGeom prst="rect">
            <a:avLst/>
          </a:prstGeo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1138" b="1" spc="-88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8668427"/>
            <a:ext cx="2919365" cy="454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3" b="0">
                <a:solidFill>
                  <a:schemeClr val="bg1"/>
                </a:solidFill>
              </a:defRPr>
            </a:lvl1pPr>
            <a:lvl2pPr marL="160386" indent="-16038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20772" indent="-16038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481157" indent="-16038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641543" indent="-16038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801929" indent="-160386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62315" indent="-160386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122700" indent="-160386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283086" indent="-160386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3795037" y="3671344"/>
            <a:ext cx="6508363" cy="993607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8414" y="952403"/>
            <a:ext cx="9914986" cy="4317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8414" y="7158852"/>
            <a:ext cx="3094778" cy="64604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26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88414" y="3671343"/>
            <a:ext cx="3094778" cy="29398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7455" b="0" spc="-88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95036" y="3671343"/>
            <a:ext cx="3098955" cy="29398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7455" b="0" spc="-88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10810" y="3671343"/>
            <a:ext cx="3094778" cy="29398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7455" b="0" spc="-88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8414" y="952403"/>
            <a:ext cx="9914986" cy="4317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3795037" y="7158852"/>
            <a:ext cx="3098955" cy="64604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26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7210810" y="7158852"/>
            <a:ext cx="3094778" cy="646046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26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8414" y="952403"/>
            <a:ext cx="9914986" cy="43178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only with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8414" y="952404"/>
            <a:ext cx="9914986" cy="43178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</a:t>
            </a:r>
            <a:r>
              <a:rPr lang="pl-PL" dirty="0"/>
              <a:t>Action</a:t>
            </a:r>
            <a:r>
              <a:rPr lang="en-US" dirty="0"/>
              <a:t>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88413" y="2319930"/>
            <a:ext cx="9914987" cy="32393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05" b="0">
                <a:solidFill>
                  <a:schemeClr val="bg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105"/>
            </a:lvl9pPr>
          </a:lstStyle>
          <a:p>
            <a:r>
              <a:rPr lang="en-US" dirty="0"/>
              <a:t>[</a:t>
            </a:r>
            <a:r>
              <a:rPr lang="pl-PL" dirty="0"/>
              <a:t>S</a:t>
            </a:r>
            <a:r>
              <a:rPr lang="en-US" dirty="0" err="1"/>
              <a:t>ubtitle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643640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NoAction 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22021-BC47-254A-91DB-E7B302B285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515ED1-193B-074D-A589-B9E109B66EF5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31534C-AB01-CB43-A35D-E0D0313F087A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719751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0691813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2519892"/>
            <a:ext cx="4009430" cy="10079567"/>
          </a:xfrm>
          <a:prstGeom prst="rect">
            <a:avLst/>
          </a:prstGeo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buFont typeface="Arial" panose="020B0604020202020204" pitchFamily="34" charset="0"/>
              <a:buNone/>
              <a:defRPr sz="228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388414" y="3579664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US" sz="1579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EA47A-A519-524E-B3BA-613F4B8FFD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7100032" cy="7559675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7100032" cy="251989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/>
          </a:p>
        </p:txBody>
      </p:sp>
      <p:sp>
        <p:nvSpPr>
          <p:cNvPr id="11" name="Rectangle 10"/>
          <p:cNvSpPr/>
          <p:nvPr/>
        </p:nvSpPr>
        <p:spPr bwMode="hidden">
          <a:xfrm>
            <a:off x="7100032" y="0"/>
            <a:ext cx="3591781" cy="7559675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3" y="5611397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5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03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45906" y="0"/>
            <a:ext cx="5345907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3671343"/>
            <a:ext cx="4647319" cy="99360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88414" y="1514583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07CDB-3D5A-144D-891F-76C8EE52CA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CBB7F1-AF3C-874C-BE8B-D104DA2E8F83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45906" y="0"/>
            <a:ext cx="5345907" cy="1511935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3671343"/>
            <a:ext cx="4647319" cy="99360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8414" y="1514583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5014584"/>
            <a:ext cx="8366454" cy="85928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8414" y="3004820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8B6AD2-D7A1-494A-91CB-06E4CD0D7C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5014584"/>
            <a:ext cx="8366454" cy="85928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88414" y="3004820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00FB7D-272D-B945-B988-9D863187CB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6951FF-D80A-B440-AD59-21C8CAD0B09D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2B484D-0DB3-F141-89A2-0AE991EDAF71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244239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5014584"/>
            <a:ext cx="8366454" cy="85928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88414" y="3004820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6F6AB-3F75-814E-B81E-F9E4C24E9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FA72BC-16D1-2045-8477-A02F773FC3E7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9F59E92-0B7C-6340-9BCB-B2E93DCC0ECB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8389944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5014584"/>
            <a:ext cx="8366454" cy="85928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88414" y="3004820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7F919-EC3A-3241-8DAE-2E4D035F75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D1A23C-DCC6-AB46-9BE5-B99F14C52642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C12044F-4FE3-EA46-A9A8-1FD082BCFDA8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9566784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415" y="5014584"/>
            <a:ext cx="8366454" cy="859283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631"/>
              </a:spcAft>
              <a:defRPr sz="3333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28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2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88414" y="3004820"/>
            <a:ext cx="764298" cy="1497936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11AB2D-BD6C-ED44-886E-A866C564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33363" y="14111393"/>
            <a:ext cx="370037" cy="302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32DA9-721C-CB42-9B45-34944DEEA5B9}"/>
              </a:ext>
            </a:extLst>
          </p:cNvPr>
          <p:cNvSpPr txBox="1"/>
          <p:nvPr userDrawn="1"/>
        </p:nvSpPr>
        <p:spPr>
          <a:xfrm>
            <a:off x="388414" y="14111389"/>
            <a:ext cx="267295" cy="3023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658" b="1" dirty="0">
                <a:solidFill>
                  <a:schemeClr val="bg1"/>
                </a:solidFill>
              </a:rPr>
              <a:t>PwC</a:t>
            </a:r>
            <a:endParaRPr lang="en-GB" sz="658" b="0" dirty="0">
              <a:solidFill>
                <a:schemeClr val="bg1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879C374-4EBE-A344-AEC0-A65E3C58CDC1}"/>
              </a:ext>
            </a:extLst>
          </p:cNvPr>
          <p:cNvSpPr txBox="1">
            <a:spLocks/>
          </p:cNvSpPr>
          <p:nvPr userDrawn="1"/>
        </p:nvSpPr>
        <p:spPr>
          <a:xfrm>
            <a:off x="7207230" y="14111393"/>
            <a:ext cx="2580374" cy="302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58" dirty="0">
                <a:solidFill>
                  <a:schemeClr val="bg1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32198" y="3671346"/>
            <a:ext cx="5471201" cy="612923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414" y="3671345"/>
            <a:ext cx="3810350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832198" y="3671345"/>
            <a:ext cx="5471201" cy="61292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414" y="3671345"/>
            <a:ext cx="3810350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832198" y="3671346"/>
            <a:ext cx="5471201" cy="612923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414" y="3671345"/>
            <a:ext cx="3810350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7100032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/>
          </a:p>
        </p:txBody>
      </p:sp>
      <p:sp>
        <p:nvSpPr>
          <p:cNvPr id="10" name="Rectangle 9"/>
          <p:cNvSpPr/>
          <p:nvPr/>
        </p:nvSpPr>
        <p:spPr bwMode="hidden">
          <a:xfrm>
            <a:off x="0" y="7559675"/>
            <a:ext cx="7100032" cy="2519892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7100032" y="0"/>
            <a:ext cx="3591781" cy="7559675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3" y="5611397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5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20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832198" y="3671346"/>
            <a:ext cx="5471201" cy="612923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508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414" y="3671345"/>
            <a:ext cx="3810350" cy="9936072"/>
          </a:xfrm>
          <a:prstGeom prst="rect">
            <a:avLst/>
          </a:prstGeom>
          <a:noFill/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64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7005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415" y="944959"/>
            <a:ext cx="1205334" cy="433421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415" y="944959"/>
            <a:ext cx="1205334" cy="433421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415" y="944959"/>
            <a:ext cx="1205334" cy="433421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415" y="944959"/>
            <a:ext cx="1205334" cy="433421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2629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10892753"/>
            <a:ext cx="10691813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5" y="5516884"/>
            <a:ext cx="4800178" cy="782843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508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8413" y="11595470"/>
            <a:ext cx="9914987" cy="3200262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388414" y="9701580"/>
            <a:ext cx="4800178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052" dirty="0" err="1">
                <a:solidFill>
                  <a:schemeClr val="bg1"/>
                </a:solidFill>
              </a:rPr>
              <a:t>pwc.com</a:t>
            </a:r>
            <a:endParaRPr lang="en-US" sz="1052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9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10892753"/>
            <a:ext cx="10691813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5" y="5516884"/>
            <a:ext cx="4800178" cy="782843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508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8413" y="11595470"/>
            <a:ext cx="9914987" cy="3200262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388414" y="9701580"/>
            <a:ext cx="4800178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052" dirty="0" err="1">
                <a:solidFill>
                  <a:schemeClr val="tx1"/>
                </a:solidFill>
              </a:rPr>
              <a:t>pwc.com</a:t>
            </a:r>
            <a:endParaRPr lang="en-US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hidden">
          <a:xfrm>
            <a:off x="0" y="10892753"/>
            <a:ext cx="10691813" cy="422659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5" y="5516884"/>
            <a:ext cx="4800178" cy="782843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508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8413" y="11595470"/>
            <a:ext cx="9914987" cy="3200262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52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endParaRPr lang="en-GB" sz="1579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388414" y="9701580"/>
            <a:ext cx="4800178" cy="750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052" dirty="0" err="1">
                <a:solidFill>
                  <a:schemeClr val="tx1"/>
                </a:solidFill>
              </a:rPr>
              <a:t>pwc.com</a:t>
            </a:r>
            <a:endParaRPr lang="en-US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616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>
  <p:cSld name="1_Title Slide 1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4" name="Google Shape;674;p118"/>
          <p:cNvSpPr/>
          <p:nvPr/>
        </p:nvSpPr>
        <p:spPr>
          <a:xfrm>
            <a:off x="0" y="0"/>
            <a:ext cx="7100033" cy="7559675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28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5" name="Google Shape;675;p118"/>
          <p:cNvSpPr/>
          <p:nvPr/>
        </p:nvSpPr>
        <p:spPr>
          <a:xfrm>
            <a:off x="0" y="7559675"/>
            <a:ext cx="7100033" cy="251989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28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8"/>
          <p:cNvSpPr/>
          <p:nvPr/>
        </p:nvSpPr>
        <p:spPr>
          <a:xfrm>
            <a:off x="7100032" y="0"/>
            <a:ext cx="3591782" cy="7559675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txBody>
          <a:bodyPr spcFirstLastPara="1" wrap="square" lIns="106901" tIns="53435" rIns="106901" bIns="5343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28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8"/>
          <p:cNvSpPr txBox="1">
            <a:spLocks noGrp="1"/>
          </p:cNvSpPr>
          <p:nvPr>
            <p:ph type="ctrTitle"/>
          </p:nvPr>
        </p:nvSpPr>
        <p:spPr>
          <a:xfrm>
            <a:off x="388414" y="944960"/>
            <a:ext cx="6505579" cy="5354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5262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118"/>
          <p:cNvSpPr txBox="1">
            <a:spLocks noGrp="1"/>
          </p:cNvSpPr>
          <p:nvPr>
            <p:ph type="subTitle" idx="1"/>
          </p:nvPr>
        </p:nvSpPr>
        <p:spPr>
          <a:xfrm>
            <a:off x="388415" y="8265245"/>
            <a:ext cx="4800179" cy="131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3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3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pic>
        <p:nvPicPr>
          <p:cNvPr id="679" name="Google Shape;679;p1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2358" y="11752778"/>
            <a:ext cx="1435376" cy="29788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7988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Light">
  <p:cSld name="1_Thank You Light">
    <p:bg>
      <p:bgPr>
        <a:solidFill>
          <a:schemeClr val="lt1"/>
        </a:solidFill>
        <a:effectLst/>
      </p:bgPr>
    </p:bg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p120"/>
          <p:cNvSpPr/>
          <p:nvPr/>
        </p:nvSpPr>
        <p:spPr>
          <a:xfrm>
            <a:off x="0" y="10892751"/>
            <a:ext cx="10691813" cy="422671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80182" tIns="40077" rIns="80182" bIns="40077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5" name="Google Shape;685;p120"/>
          <p:cNvSpPr txBox="1">
            <a:spLocks noGrp="1"/>
          </p:cNvSpPr>
          <p:nvPr>
            <p:ph type="ctrTitle"/>
          </p:nvPr>
        </p:nvSpPr>
        <p:spPr>
          <a:xfrm>
            <a:off x="388416" y="4331981"/>
            <a:ext cx="4800091" cy="196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5145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0"/>
          <p:cNvSpPr/>
          <p:nvPr/>
        </p:nvSpPr>
        <p:spPr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182" tIns="40077" rIns="80182" bIns="40077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7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7" name="Google Shape;687;p120"/>
          <p:cNvSpPr txBox="1">
            <a:spLocks noGrp="1"/>
          </p:cNvSpPr>
          <p:nvPr>
            <p:ph type="body" idx="1"/>
          </p:nvPr>
        </p:nvSpPr>
        <p:spPr>
          <a:xfrm>
            <a:off x="388413" y="11595470"/>
            <a:ext cx="9914832" cy="320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534606" lvl="0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1pPr>
            <a:lvl2pPr marL="1069212" lvl="1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2pPr>
            <a:lvl3pPr marL="1603817" lvl="2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3pPr>
            <a:lvl4pPr marL="2138423" lvl="3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4pPr>
            <a:lvl5pPr marL="2673029" lvl="4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 b="0">
                <a:solidFill>
                  <a:schemeClr val="lt1"/>
                </a:solidFill>
              </a:defRPr>
            </a:lvl5pPr>
            <a:lvl6pPr marL="3207635" lvl="5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6pPr>
            <a:lvl7pPr marL="3742241" lvl="6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7pPr>
            <a:lvl8pPr marL="4276847" lvl="7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8pPr>
            <a:lvl9pPr marL="4811453" lvl="8" indent="-26730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052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88" name="Google Shape;688;p120"/>
          <p:cNvSpPr/>
          <p:nvPr/>
        </p:nvSpPr>
        <p:spPr>
          <a:xfrm>
            <a:off x="4677668" y="0"/>
            <a:ext cx="6014145" cy="15119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182" tIns="40077" rIns="80182" bIns="40077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7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9" name="Google Shape;689;p120"/>
          <p:cNvSpPr txBox="1"/>
          <p:nvPr/>
        </p:nvSpPr>
        <p:spPr>
          <a:xfrm>
            <a:off x="388414" y="9701578"/>
            <a:ext cx="4800091" cy="75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r>
              <a:rPr lang="en" sz="105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128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708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3" y="5611397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4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62358" y="11752775"/>
            <a:ext cx="1435376" cy="2978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3" y="5611397"/>
            <a:ext cx="6505579" cy="68833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5262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4" y="8298848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62358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51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45906" y="0"/>
            <a:ext cx="5345907" cy="10087971"/>
          </a:xfrm>
          <a:prstGeom prst="rect">
            <a:avLst/>
          </a:prstGeom>
          <a:solidFill>
            <a:srgbClr val="DEDEDE"/>
          </a:solidFill>
        </p:spPr>
        <p:txBody>
          <a:bodyPr anchor="ctr" anchorCtr="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5345907" cy="1008797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10" name="Rectangle 9"/>
          <p:cNvSpPr/>
          <p:nvPr/>
        </p:nvSpPr>
        <p:spPr bwMode="hidden">
          <a:xfrm>
            <a:off x="0" y="10087971"/>
            <a:ext cx="5345907" cy="50313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8414" y="4928211"/>
            <a:ext cx="4800179" cy="57355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8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414" y="11247125"/>
            <a:ext cx="4800179" cy="155392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9065711" y="11752776"/>
            <a:ext cx="1435376" cy="297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8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0691813" cy="15119350"/>
          </a:xfrm>
          <a:prstGeom prst="rect">
            <a:avLst/>
          </a:prstGeom>
          <a:solidFill>
            <a:srgbClr val="DEDEDE"/>
          </a:solidFill>
        </p:spPr>
        <p:txBody>
          <a:bodyPr tIns="9144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10691813" cy="1511935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79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79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5" y="8187128"/>
            <a:ext cx="4800178" cy="1305304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5" y="4583047"/>
            <a:ext cx="6505577" cy="51629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394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893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0691813" cy="15119350"/>
          </a:xfrm>
          <a:prstGeom prst="rect">
            <a:avLst/>
          </a:prstGeom>
          <a:solidFill>
            <a:srgbClr val="DEDEDE"/>
          </a:solidFill>
        </p:spPr>
        <p:txBody>
          <a:bodyPr tIns="91440"/>
          <a:lstStyle>
            <a:lvl1pPr algn="ctr">
              <a:defRPr sz="1052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0691813" cy="1511935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579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8414" y="8187129"/>
            <a:ext cx="4800179" cy="1310037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28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8414" y="4583047"/>
            <a:ext cx="6505578" cy="51629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394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913890485"/>
              </p:ext>
            </p:extLst>
          </p:nvPr>
        </p:nvGraphicFramePr>
        <p:xfrm>
          <a:off x="1393" y="3502"/>
          <a:ext cx="1392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3" imgW="338" imgH="338" progId="TCLayout.ActiveDocument.1">
                  <p:embed/>
                </p:oleObj>
              </mc:Choice>
              <mc:Fallback>
                <p:oleObj name="think-cell Slide" r:id="rId5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393" y="3502"/>
                        <a:ext cx="1392" cy="3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86" r:id="rId17"/>
    <p:sldLayoutId id="2147483791" r:id="rId18"/>
    <p:sldLayoutId id="2147483794" r:id="rId19"/>
    <p:sldLayoutId id="2147483790" r:id="rId20"/>
    <p:sldLayoutId id="2147483745" r:id="rId21"/>
    <p:sldLayoutId id="2147483796" r:id="rId22"/>
    <p:sldLayoutId id="2147483797" r:id="rId23"/>
    <p:sldLayoutId id="2147483765" r:id="rId24"/>
    <p:sldLayoutId id="2147483766" r:id="rId25"/>
    <p:sldLayoutId id="2147483767" r:id="rId26"/>
    <p:sldLayoutId id="2147483792" r:id="rId27"/>
    <p:sldLayoutId id="2147483793" r:id="rId28"/>
    <p:sldLayoutId id="2147483770" r:id="rId29"/>
    <p:sldLayoutId id="2147483771" r:id="rId30"/>
    <p:sldLayoutId id="2147483772" r:id="rId31"/>
    <p:sldLayoutId id="2147483773" r:id="rId32"/>
    <p:sldLayoutId id="2147483774" r:id="rId33"/>
    <p:sldLayoutId id="2147483775" r:id="rId34"/>
    <p:sldLayoutId id="2147483776" r:id="rId35"/>
    <p:sldLayoutId id="2147483777" r:id="rId36"/>
    <p:sldLayoutId id="2147483778" r:id="rId37"/>
    <p:sldLayoutId id="2147483779" r:id="rId38"/>
    <p:sldLayoutId id="2147483780" r:id="rId39"/>
    <p:sldLayoutId id="2147483781" r:id="rId40"/>
    <p:sldLayoutId id="2147483782" r:id="rId41"/>
    <p:sldLayoutId id="2147483783" r:id="rId42"/>
    <p:sldLayoutId id="2147483784" r:id="rId43"/>
    <p:sldLayoutId id="2147483785" r:id="rId44"/>
    <p:sldLayoutId id="2147483788" r:id="rId45"/>
    <p:sldLayoutId id="2147483789" r:id="rId46"/>
    <p:sldLayoutId id="2147483800" r:id="rId47"/>
    <p:sldLayoutId id="2147483798" r:id="rId48"/>
    <p:sldLayoutId id="2147483799" r:id="rId49"/>
  </p:sldLayoutIdLst>
  <p:hf hdr="0" ftr="0" dt="0"/>
  <p:txStyles>
    <p:titleStyle>
      <a:lvl1pPr algn="l" defTabSz="801929" rtl="0" eaLnBrk="1" latinLnBrk="0" hangingPunct="1">
        <a:lnSpc>
          <a:spcPct val="100000"/>
        </a:lnSpc>
        <a:spcBef>
          <a:spcPct val="0"/>
        </a:spcBef>
        <a:buNone/>
        <a:defRPr sz="2806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01929" rtl="0" eaLnBrk="1" latinLnBrk="0" hangingPunct="1">
        <a:lnSpc>
          <a:spcPct val="100000"/>
        </a:lnSpc>
        <a:spcBef>
          <a:spcPts val="0"/>
        </a:spcBef>
        <a:spcAft>
          <a:spcPts val="1052"/>
        </a:spcAft>
        <a:buFont typeface="Arial" panose="020B0604020202020204" pitchFamily="34" charset="0"/>
        <a:buNone/>
        <a:defRPr sz="1579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None/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158715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317430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481157" indent="-158715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641543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801929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962315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–"/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1122700" indent="-160386" algn="l" defTabSz="801929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1pPr>
      <a:lvl2pPr marL="400964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801929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1202893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1603858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2004822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2405786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2806751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3207715" algn="l" defTabSz="801929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6339" userDrawn="1">
          <p15:clr>
            <a:srgbClr val="F26B43"/>
          </p15:clr>
        </p15:guide>
        <p15:guide id="5" orient="horz" pos="8935" userDrawn="1">
          <p15:clr>
            <a:srgbClr val="F26B43"/>
          </p15:clr>
        </p15:guide>
        <p15:guide id="13" orient="horz" pos="58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.jpg"/><Relationship Id="rId3" Type="http://schemas.openxmlformats.org/officeDocument/2006/relationships/slideLayout" Target="../slideLayouts/slideLayout20.xml"/><Relationship Id="rId12" Type="http://schemas.openxmlformats.org/officeDocument/2006/relationships/image" Target="../media/image19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11" Type="http://schemas.openxmlformats.org/officeDocument/2006/relationships/image" Target="../media/image7.png"/><Relationship Id="rId5" Type="http://schemas.openxmlformats.org/officeDocument/2006/relationships/image" Target="../media/image5.emf"/><Relationship Id="rId15" Type="http://schemas.openxmlformats.org/officeDocument/2006/relationships/image" Target="../media/image25.svg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5.bin"/><Relationship Id="rId1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C696AD-6FF6-4F13-BD7E-A640A6C071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6C696AD-6FF6-4F13-BD7E-A640A6C07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">
            <a:extLst>
              <a:ext uri="{FF2B5EF4-FFF2-40B4-BE49-F238E27FC236}">
                <a16:creationId xmlns:a16="http://schemas.microsoft.com/office/drawing/2014/main" id="{647E89AD-FA5A-1B45-9CD9-10A215776355}"/>
              </a:ext>
            </a:extLst>
          </p:cNvPr>
          <p:cNvSpPr txBox="1"/>
          <p:nvPr/>
        </p:nvSpPr>
        <p:spPr>
          <a:xfrm>
            <a:off x="616488" y="409367"/>
            <a:ext cx="9434513" cy="11227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pl-PL" sz="3200" b="1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Co zapewniamy klientom </a:t>
            </a:r>
          </a:p>
          <a:p>
            <a:pPr algn="ctr">
              <a:lnSpc>
                <a:spcPct val="114000"/>
              </a:lnSpc>
            </a:pPr>
            <a:r>
              <a:rPr lang="pl-PL" sz="3200" b="1" dirty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ze szczególnymi </a:t>
            </a:r>
            <a:r>
              <a:rPr lang="pl-PL" sz="3200" b="1" dirty="0" smtClean="0">
                <a:solidFill>
                  <a:schemeClr val="accent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otrzebami?</a:t>
            </a:r>
            <a:endParaRPr lang="en-GB" sz="3200" b="1" dirty="0">
              <a:solidFill>
                <a:schemeClr val="accent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1" name="Group 11">
            <a:extLst>
              <a:ext uri="{FF2B5EF4-FFF2-40B4-BE49-F238E27FC236}">
                <a16:creationId xmlns:a16="http://schemas.microsoft.com/office/drawing/2014/main" id="{5E914D0E-6BD5-0824-60EF-8CF8F09C9ECB}"/>
              </a:ext>
            </a:extLst>
          </p:cNvPr>
          <p:cNvGrpSpPr/>
          <p:nvPr/>
        </p:nvGrpSpPr>
        <p:grpSpPr>
          <a:xfrm>
            <a:off x="1011954" y="6572708"/>
            <a:ext cx="6134102" cy="468001"/>
            <a:chOff x="628649" y="3114675"/>
            <a:chExt cx="6134102" cy="468001"/>
          </a:xfrm>
        </p:grpSpPr>
        <p:grpSp>
          <p:nvGrpSpPr>
            <p:cNvPr id="12" name="Group 36">
              <a:extLst>
                <a:ext uri="{FF2B5EF4-FFF2-40B4-BE49-F238E27FC236}">
                  <a16:creationId xmlns:a16="http://schemas.microsoft.com/office/drawing/2014/main" id="{9C55DF89-26F8-AA35-4931-C8222B9A7EDE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15" name="TextBox 37">
                <a:extLst>
                  <a:ext uri="{FF2B5EF4-FFF2-40B4-BE49-F238E27FC236}">
                    <a16:creationId xmlns:a16="http://schemas.microsoft.com/office/drawing/2014/main" id="{1C71539B-B8EB-627A-D688-0EFA9B5E7A02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pl-PL" sz="2000" dirty="0"/>
                  <a:t>Indywidualne podejście do klienta ze szczególnymi potrzebami i dążenie do załatwienia sprawy w ramach pierwszej wizyty </a:t>
                </a:r>
              </a:p>
              <a:p>
                <a:pPr algn="l">
                  <a:lnSpc>
                    <a:spcPct val="114000"/>
                  </a:lnSpc>
                </a:pPr>
                <a:endParaRPr lang="pl-PL" sz="2000" dirty="0">
                  <a:latin typeface="Arial" panose="020B0604020202020204" pitchFamily="34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6" name="Group 38">
                <a:extLst>
                  <a:ext uri="{FF2B5EF4-FFF2-40B4-BE49-F238E27FC236}">
                    <a16:creationId xmlns:a16="http://schemas.microsoft.com/office/drawing/2014/main" id="{060AB5A8-45BC-A2F2-0FE5-15AF91004FF4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30" name="Rectangle 39">
                  <a:extLst>
                    <a:ext uri="{FF2B5EF4-FFF2-40B4-BE49-F238E27FC236}">
                      <a16:creationId xmlns:a16="http://schemas.microsoft.com/office/drawing/2014/main" id="{342F5061-3A7B-F717-B043-8D66BA556525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33" name="Freeform 19">
                  <a:extLst>
                    <a:ext uri="{FF2B5EF4-FFF2-40B4-BE49-F238E27FC236}">
                      <a16:creationId xmlns:a16="http://schemas.microsoft.com/office/drawing/2014/main" id="{0A80A9A7-6ACF-8C81-9A75-406CCED319B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14" name="Straight Connector 7">
              <a:extLst>
                <a:ext uri="{FF2B5EF4-FFF2-40B4-BE49-F238E27FC236}">
                  <a16:creationId xmlns:a16="http://schemas.microsoft.com/office/drawing/2014/main" id="{8A1E4196-833D-774B-A0DC-7A7EA82B2F7E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67" name="Group 11">
            <a:extLst>
              <a:ext uri="{FF2B5EF4-FFF2-40B4-BE49-F238E27FC236}">
                <a16:creationId xmlns:a16="http://schemas.microsoft.com/office/drawing/2014/main" id="{9FB6A63E-5AE0-D1B2-33CE-EE4A97EDC25C}"/>
              </a:ext>
            </a:extLst>
          </p:cNvPr>
          <p:cNvGrpSpPr/>
          <p:nvPr/>
        </p:nvGrpSpPr>
        <p:grpSpPr>
          <a:xfrm>
            <a:off x="1011655" y="11667835"/>
            <a:ext cx="6134400" cy="468001"/>
            <a:chOff x="628649" y="3114675"/>
            <a:chExt cx="6134102" cy="468001"/>
          </a:xfrm>
        </p:grpSpPr>
        <p:grpSp>
          <p:nvGrpSpPr>
            <p:cNvPr id="68" name="Group 36">
              <a:extLst>
                <a:ext uri="{FF2B5EF4-FFF2-40B4-BE49-F238E27FC236}">
                  <a16:creationId xmlns:a16="http://schemas.microsoft.com/office/drawing/2014/main" id="{C034E9C1-34CA-E50E-82CC-48BD73BE99D8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70" name="TextBox 37">
                <a:extLst>
                  <a:ext uri="{FF2B5EF4-FFF2-40B4-BE49-F238E27FC236}">
                    <a16:creationId xmlns:a16="http://schemas.microsoft.com/office/drawing/2014/main" id="{BD5DED05-331C-745A-8EB9-AB89C19BBD29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r>
                  <a:rPr lang="pl-PL" sz="2000" dirty="0"/>
                  <a:t>Przejrzyste i zrozumiałe materiały informacyjne, </a:t>
                </a:r>
                <a:br>
                  <a:rPr lang="pl-PL" sz="2000" dirty="0"/>
                </a:br>
                <a:r>
                  <a:rPr lang="pl-PL" sz="2000" dirty="0"/>
                  <a:t>w tym dedykowane osobom niepełnosprawnym</a:t>
                </a:r>
              </a:p>
            </p:txBody>
          </p:sp>
          <p:grpSp>
            <p:nvGrpSpPr>
              <p:cNvPr id="71" name="Group 38">
                <a:extLst>
                  <a:ext uri="{FF2B5EF4-FFF2-40B4-BE49-F238E27FC236}">
                    <a16:creationId xmlns:a16="http://schemas.microsoft.com/office/drawing/2014/main" id="{388551DB-3EBB-D63A-ADFD-D8C1FFD5E457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80" name="Rectangle 39">
                  <a:extLst>
                    <a:ext uri="{FF2B5EF4-FFF2-40B4-BE49-F238E27FC236}">
                      <a16:creationId xmlns:a16="http://schemas.microsoft.com/office/drawing/2014/main" id="{4B21FF8E-4002-0A33-4B64-B5E0550AB7FD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81" name="Freeform 19">
                  <a:extLst>
                    <a:ext uri="{FF2B5EF4-FFF2-40B4-BE49-F238E27FC236}">
                      <a16:creationId xmlns:a16="http://schemas.microsoft.com/office/drawing/2014/main" id="{CA58750B-F761-4A70-6D35-CEA7D9E1759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69" name="Straight Connector 7">
              <a:extLst>
                <a:ext uri="{FF2B5EF4-FFF2-40B4-BE49-F238E27FC236}">
                  <a16:creationId xmlns:a16="http://schemas.microsoft.com/office/drawing/2014/main" id="{40334FB0-228E-0020-0385-036CF69602DA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82" name="Group 11">
            <a:extLst>
              <a:ext uri="{FF2B5EF4-FFF2-40B4-BE49-F238E27FC236}">
                <a16:creationId xmlns:a16="http://schemas.microsoft.com/office/drawing/2014/main" id="{70AE3633-30C2-5313-12D9-7C700DB4E46A}"/>
              </a:ext>
            </a:extLst>
          </p:cNvPr>
          <p:cNvGrpSpPr/>
          <p:nvPr/>
        </p:nvGrpSpPr>
        <p:grpSpPr>
          <a:xfrm>
            <a:off x="1021140" y="10199846"/>
            <a:ext cx="6134400" cy="468001"/>
            <a:chOff x="628649" y="3114675"/>
            <a:chExt cx="6134102" cy="468001"/>
          </a:xfrm>
        </p:grpSpPr>
        <p:grpSp>
          <p:nvGrpSpPr>
            <p:cNvPr id="83" name="Group 36">
              <a:extLst>
                <a:ext uri="{FF2B5EF4-FFF2-40B4-BE49-F238E27FC236}">
                  <a16:creationId xmlns:a16="http://schemas.microsoft.com/office/drawing/2014/main" id="{46D566E8-5434-9319-96B7-5AA7473634BC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85" name="TextBox 37">
                <a:extLst>
                  <a:ext uri="{FF2B5EF4-FFF2-40B4-BE49-F238E27FC236}">
                    <a16:creationId xmlns:a16="http://schemas.microsoft.com/office/drawing/2014/main" id="{C06C32DB-2E14-E992-461D-7F8444C710E3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 algn="l">
                  <a:lnSpc>
                    <a:spcPct val="114000"/>
                  </a:lnSpc>
                </a:pP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Fachową, kompleksową i zrozumiałą </a:t>
                </a:r>
                <a:b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</a:b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informację przekazywaną przez pracowników</a:t>
                </a:r>
              </a:p>
            </p:txBody>
          </p:sp>
          <p:grpSp>
            <p:nvGrpSpPr>
              <p:cNvPr id="86" name="Group 38">
                <a:extLst>
                  <a:ext uri="{FF2B5EF4-FFF2-40B4-BE49-F238E27FC236}">
                    <a16:creationId xmlns:a16="http://schemas.microsoft.com/office/drawing/2014/main" id="{3574CA8C-93AF-2B4F-FEE6-971231CEE314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87" name="Rectangle 39">
                  <a:extLst>
                    <a:ext uri="{FF2B5EF4-FFF2-40B4-BE49-F238E27FC236}">
                      <a16:creationId xmlns:a16="http://schemas.microsoft.com/office/drawing/2014/main" id="{089464BA-393F-A3D6-AE6D-E58CDD00848E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88" name="Freeform 19">
                  <a:extLst>
                    <a:ext uri="{FF2B5EF4-FFF2-40B4-BE49-F238E27FC236}">
                      <a16:creationId xmlns:a16="http://schemas.microsoft.com/office/drawing/2014/main" id="{FFE452E9-890C-398C-7416-AEA2689AE1D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84" name="Straight Connector 7">
              <a:extLst>
                <a:ext uri="{FF2B5EF4-FFF2-40B4-BE49-F238E27FC236}">
                  <a16:creationId xmlns:a16="http://schemas.microsoft.com/office/drawing/2014/main" id="{D5928C41-2C4B-0E2A-1BA1-53D6BBC7B3D2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45" name="Group 11">
            <a:extLst>
              <a:ext uri="{FF2B5EF4-FFF2-40B4-BE49-F238E27FC236}">
                <a16:creationId xmlns:a16="http://schemas.microsoft.com/office/drawing/2014/main" id="{5D4C114B-6AD6-1621-1712-7D108D8AEC0F}"/>
              </a:ext>
            </a:extLst>
          </p:cNvPr>
          <p:cNvGrpSpPr/>
          <p:nvPr/>
        </p:nvGrpSpPr>
        <p:grpSpPr>
          <a:xfrm>
            <a:off x="1011655" y="8212278"/>
            <a:ext cx="6134102" cy="468001"/>
            <a:chOff x="628649" y="3114675"/>
            <a:chExt cx="6134102" cy="468001"/>
          </a:xfrm>
        </p:grpSpPr>
        <p:grpSp>
          <p:nvGrpSpPr>
            <p:cNvPr id="154" name="Group 36">
              <a:extLst>
                <a:ext uri="{FF2B5EF4-FFF2-40B4-BE49-F238E27FC236}">
                  <a16:creationId xmlns:a16="http://schemas.microsoft.com/office/drawing/2014/main" id="{23429CDA-BB89-1700-6527-452839C9DDB9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156" name="TextBox 37">
                <a:extLst>
                  <a:ext uri="{FF2B5EF4-FFF2-40B4-BE49-F238E27FC236}">
                    <a16:creationId xmlns:a16="http://schemas.microsoft.com/office/drawing/2014/main" id="{5067CAC7-221D-348A-0972-2DB00F00AE32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 algn="l">
                  <a:lnSpc>
                    <a:spcPct val="114000"/>
                  </a:lnSpc>
                </a:pP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Różne formy kontaktu z Urzędem, tj. korespondencję tradycyjną</a:t>
                </a:r>
                <a:r>
                  <a:rPr lang="pl-PL" sz="2000" dirty="0" smtClean="0">
                    <a:latin typeface="Arial" panose="020B0604020202020204" pitchFamily="34" charset="0"/>
                    <a:cs typeface="Times New Roman" panose="02020603050405020304" pitchFamily="18" charset="0"/>
                  </a:rPr>
                  <a:t>,, </a:t>
                </a: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platformy </a:t>
                </a:r>
                <a:b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</a:b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e-PUAP i e-Urząd Skarbowy, telefoniczną, kontakt bezpośredni i skrzynkę oddawczą </a:t>
                </a:r>
              </a:p>
            </p:txBody>
          </p:sp>
          <p:grpSp>
            <p:nvGrpSpPr>
              <p:cNvPr id="157" name="Group 38">
                <a:extLst>
                  <a:ext uri="{FF2B5EF4-FFF2-40B4-BE49-F238E27FC236}">
                    <a16:creationId xmlns:a16="http://schemas.microsoft.com/office/drawing/2014/main" id="{D7F1F6F0-4E13-A98C-A7D5-B8A9174DE228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158" name="Rectangle 39">
                  <a:extLst>
                    <a:ext uri="{FF2B5EF4-FFF2-40B4-BE49-F238E27FC236}">
                      <a16:creationId xmlns:a16="http://schemas.microsoft.com/office/drawing/2014/main" id="{05DCB0AE-9111-56FA-29F5-7EA02C40A975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159" name="Freeform 19">
                  <a:extLst>
                    <a:ext uri="{FF2B5EF4-FFF2-40B4-BE49-F238E27FC236}">
                      <a16:creationId xmlns:a16="http://schemas.microsoft.com/office/drawing/2014/main" id="{4D4EAF9E-DD88-7355-505B-8E6A8628FF9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155" name="Straight Connector 7">
              <a:extLst>
                <a:ext uri="{FF2B5EF4-FFF2-40B4-BE49-F238E27FC236}">
                  <a16:creationId xmlns:a16="http://schemas.microsoft.com/office/drawing/2014/main" id="{4F525DFE-D24C-26EB-7CBB-711ECE55581D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pic>
        <p:nvPicPr>
          <p:cNvPr id="2" name="Graphic 20">
            <a:extLst>
              <a:ext uri="{FF2B5EF4-FFF2-40B4-BE49-F238E27FC236}">
                <a16:creationId xmlns:a16="http://schemas.microsoft.com/office/drawing/2014/main" id="{9666883A-C1D7-1D96-8DB1-7ECEF88AC5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46056" y="4753400"/>
            <a:ext cx="3238633" cy="3240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D027533-FAFE-033A-E7DF-3D4594B6D3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07236" y="1767140"/>
            <a:ext cx="3238633" cy="3240000"/>
          </a:xfrm>
          <a:prstGeom prst="rect">
            <a:avLst/>
          </a:prstGeom>
        </p:spPr>
      </p:pic>
      <p:grpSp>
        <p:nvGrpSpPr>
          <p:cNvPr id="25" name="Group 11">
            <a:extLst>
              <a:ext uri="{FF2B5EF4-FFF2-40B4-BE49-F238E27FC236}">
                <a16:creationId xmlns:a16="http://schemas.microsoft.com/office/drawing/2014/main" id="{C944073C-E9C6-F10B-BCA9-B98F154FFCD7}"/>
              </a:ext>
            </a:extLst>
          </p:cNvPr>
          <p:cNvGrpSpPr/>
          <p:nvPr/>
        </p:nvGrpSpPr>
        <p:grpSpPr>
          <a:xfrm>
            <a:off x="1065039" y="2768903"/>
            <a:ext cx="6263999" cy="468001"/>
            <a:chOff x="628649" y="3114675"/>
            <a:chExt cx="6134102" cy="468001"/>
          </a:xfrm>
        </p:grpSpPr>
        <p:grpSp>
          <p:nvGrpSpPr>
            <p:cNvPr id="26" name="Group 36">
              <a:extLst>
                <a:ext uri="{FF2B5EF4-FFF2-40B4-BE49-F238E27FC236}">
                  <a16:creationId xmlns:a16="http://schemas.microsoft.com/office/drawing/2014/main" id="{4CBD00B0-EF2E-1E63-0462-C9B9E6B39E97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28" name="TextBox 37">
                <a:extLst>
                  <a:ext uri="{FF2B5EF4-FFF2-40B4-BE49-F238E27FC236}">
                    <a16:creationId xmlns:a16="http://schemas.microsoft.com/office/drawing/2014/main" id="{9D1AA07E-0A97-C49E-D667-8D7832E22614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 algn="l">
                  <a:lnSpc>
                    <a:spcPct val="114000"/>
                  </a:lnSpc>
                </a:pP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Możliwość skorzystania w Urzędzie z usługi tłumacza migowego na wniosek osoby </a:t>
                </a:r>
                <a:b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</a:b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niesłyszącej, złożony co najmniej 3 dni wcześniej </a:t>
                </a:r>
              </a:p>
            </p:txBody>
          </p:sp>
          <p:grpSp>
            <p:nvGrpSpPr>
              <p:cNvPr id="29" name="Group 38">
                <a:extLst>
                  <a:ext uri="{FF2B5EF4-FFF2-40B4-BE49-F238E27FC236}">
                    <a16:creationId xmlns:a16="http://schemas.microsoft.com/office/drawing/2014/main" id="{EDD98236-1FBC-7886-4F27-7CBC2B59F72B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31" name="Rectangle 39">
                  <a:extLst>
                    <a:ext uri="{FF2B5EF4-FFF2-40B4-BE49-F238E27FC236}">
                      <a16:creationId xmlns:a16="http://schemas.microsoft.com/office/drawing/2014/main" id="{8AF4060F-FDFB-A14B-0122-8092A6A99CAB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32" name="Freeform 19">
                  <a:extLst>
                    <a:ext uri="{FF2B5EF4-FFF2-40B4-BE49-F238E27FC236}">
                      <a16:creationId xmlns:a16="http://schemas.microsoft.com/office/drawing/2014/main" id="{7D00B12F-6F30-2CCE-DCCA-85678979F3F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27" name="Straight Connector 7">
              <a:extLst>
                <a:ext uri="{FF2B5EF4-FFF2-40B4-BE49-F238E27FC236}">
                  <a16:creationId xmlns:a16="http://schemas.microsoft.com/office/drawing/2014/main" id="{9DA63474-B758-C078-4030-5D083D3909BC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6" name="Group 11">
            <a:extLst>
              <a:ext uri="{FF2B5EF4-FFF2-40B4-BE49-F238E27FC236}">
                <a16:creationId xmlns:a16="http://schemas.microsoft.com/office/drawing/2014/main" id="{96D1DF26-73D2-8A73-5D71-3E632269B1BC}"/>
              </a:ext>
            </a:extLst>
          </p:cNvPr>
          <p:cNvGrpSpPr/>
          <p:nvPr/>
        </p:nvGrpSpPr>
        <p:grpSpPr>
          <a:xfrm>
            <a:off x="1011954" y="5758297"/>
            <a:ext cx="6134102" cy="468001"/>
            <a:chOff x="628649" y="3114675"/>
            <a:chExt cx="6134102" cy="468001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EFA374F-FBC0-0CCA-BB01-DF76E5760B49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39" name="TextBox 37">
                <a:extLst>
                  <a:ext uri="{FF2B5EF4-FFF2-40B4-BE49-F238E27FC236}">
                    <a16:creationId xmlns:a16="http://schemas.microsoft.com/office/drawing/2014/main" id="{15BDFD07-B63E-0307-ED4E-BB52F9189A57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 algn="l">
                  <a:lnSpc>
                    <a:spcPct val="114000"/>
                  </a:lnSpc>
                </a:pPr>
                <a:r>
                  <a:rPr lang="pl-PL" sz="2000" dirty="0">
                    <a:latin typeface="Arial" panose="020B0604020202020204" pitchFamily="34" charset="0"/>
                    <a:cs typeface="Times New Roman" panose="02020603050405020304" pitchFamily="18" charset="0"/>
                  </a:rPr>
                  <a:t>Obsługę klientów z psem asystującym</a:t>
                </a:r>
              </a:p>
            </p:txBody>
          </p:sp>
          <p:grpSp>
            <p:nvGrpSpPr>
              <p:cNvPr id="40" name="Group 38">
                <a:extLst>
                  <a:ext uri="{FF2B5EF4-FFF2-40B4-BE49-F238E27FC236}">
                    <a16:creationId xmlns:a16="http://schemas.microsoft.com/office/drawing/2014/main" id="{4654EEAA-94B9-64D5-3E68-00E295243AAE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41" name="Rectangle 39">
                  <a:extLst>
                    <a:ext uri="{FF2B5EF4-FFF2-40B4-BE49-F238E27FC236}">
                      <a16:creationId xmlns:a16="http://schemas.microsoft.com/office/drawing/2014/main" id="{42C16EA3-127C-0DA4-CC40-7D2619926817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42" name="Freeform 19">
                  <a:extLst>
                    <a:ext uri="{FF2B5EF4-FFF2-40B4-BE49-F238E27FC236}">
                      <a16:creationId xmlns:a16="http://schemas.microsoft.com/office/drawing/2014/main" id="{C1382A07-78A8-AAB1-A283-ED490F2154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38" name="Straight Connector 7">
              <a:extLst>
                <a:ext uri="{FF2B5EF4-FFF2-40B4-BE49-F238E27FC236}">
                  <a16:creationId xmlns:a16="http://schemas.microsoft.com/office/drawing/2014/main" id="{3DB58B27-49FF-BA5D-957D-F7312D74CC9D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72" name="Group 11">
            <a:extLst>
              <a:ext uri="{FF2B5EF4-FFF2-40B4-BE49-F238E27FC236}">
                <a16:creationId xmlns:a16="http://schemas.microsoft.com/office/drawing/2014/main" id="{96D1DF26-73D2-8A73-5D71-3E632269B1BC}"/>
              </a:ext>
            </a:extLst>
          </p:cNvPr>
          <p:cNvGrpSpPr/>
          <p:nvPr/>
        </p:nvGrpSpPr>
        <p:grpSpPr>
          <a:xfrm>
            <a:off x="1011956" y="4419021"/>
            <a:ext cx="6238765" cy="588119"/>
            <a:chOff x="628649" y="3114675"/>
            <a:chExt cx="6134102" cy="468001"/>
          </a:xfrm>
        </p:grpSpPr>
        <p:grpSp>
          <p:nvGrpSpPr>
            <p:cNvPr id="73" name="Group 36">
              <a:extLst>
                <a:ext uri="{FF2B5EF4-FFF2-40B4-BE49-F238E27FC236}">
                  <a16:creationId xmlns:a16="http://schemas.microsoft.com/office/drawing/2014/main" id="{8EFA374F-FBC0-0CCA-BB01-DF76E5760B49}"/>
                </a:ext>
              </a:extLst>
            </p:cNvPr>
            <p:cNvGrpSpPr/>
            <p:nvPr/>
          </p:nvGrpSpPr>
          <p:grpSpPr>
            <a:xfrm>
              <a:off x="628649" y="3114675"/>
              <a:ext cx="6134102" cy="468001"/>
              <a:chOff x="628649" y="2565054"/>
              <a:chExt cx="6134102" cy="468001"/>
            </a:xfrm>
          </p:grpSpPr>
          <p:sp>
            <p:nvSpPr>
              <p:cNvPr id="75" name="TextBox 37">
                <a:extLst>
                  <a:ext uri="{FF2B5EF4-FFF2-40B4-BE49-F238E27FC236}">
                    <a16:creationId xmlns:a16="http://schemas.microsoft.com/office/drawing/2014/main" id="{15BDFD07-B63E-0307-ED4E-BB52F9189A57}"/>
                  </a:ext>
                </a:extLst>
              </p:cNvPr>
              <p:cNvSpPr txBox="1"/>
              <p:nvPr/>
            </p:nvSpPr>
            <p:spPr>
              <a:xfrm>
                <a:off x="628651" y="2565055"/>
                <a:ext cx="6134100" cy="468000"/>
              </a:xfrm>
              <a:prstGeom prst="rect">
                <a:avLst/>
              </a:prstGeom>
              <a:noFill/>
            </p:spPr>
            <p:txBody>
              <a:bodyPr wrap="square" lIns="684000" tIns="72000" rIns="0" bIns="0" rtlCol="0" anchor="t">
                <a:noAutofit/>
              </a:bodyPr>
              <a:lstStyle/>
              <a:p>
                <a:pPr algn="l">
                  <a:lnSpc>
                    <a:spcPct val="114000"/>
                  </a:lnSpc>
                </a:pPr>
                <a:r>
                  <a:rPr lang="pl-PL" sz="2000" dirty="0" smtClean="0">
                    <a:latin typeface="Arial" panose="020B0604020202020204" pitchFamily="34" charset="0"/>
                    <a:cs typeface="Times New Roman" panose="02020603050405020304" pitchFamily="18" charset="0"/>
                  </a:rPr>
                  <a:t>Możliwość skorzystania z pętli indukcyjnej </a:t>
                </a:r>
                <a:endParaRPr lang="pl-PL" sz="2000" dirty="0">
                  <a:latin typeface="Arial" panose="020B0604020202020204" pitchFamily="34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76" name="Group 38">
                <a:extLst>
                  <a:ext uri="{FF2B5EF4-FFF2-40B4-BE49-F238E27FC236}">
                    <a16:creationId xmlns:a16="http://schemas.microsoft.com/office/drawing/2014/main" id="{4654EEAA-94B9-64D5-3E68-00E295243AAE}"/>
                  </a:ext>
                </a:extLst>
              </p:cNvPr>
              <p:cNvGrpSpPr/>
              <p:nvPr/>
            </p:nvGrpSpPr>
            <p:grpSpPr>
              <a:xfrm>
                <a:off x="628649" y="2565054"/>
                <a:ext cx="466969" cy="466969"/>
                <a:chOff x="628649" y="2565054"/>
                <a:chExt cx="466969" cy="466969"/>
              </a:xfrm>
            </p:grpSpPr>
            <p:sp>
              <p:nvSpPr>
                <p:cNvPr id="77" name="Rectangle 39">
                  <a:extLst>
                    <a:ext uri="{FF2B5EF4-FFF2-40B4-BE49-F238E27FC236}">
                      <a16:creationId xmlns:a16="http://schemas.microsoft.com/office/drawing/2014/main" id="{42C16EA3-127C-0DA4-CC40-7D2619926817}"/>
                    </a:ext>
                  </a:extLst>
                </p:cNvPr>
                <p:cNvSpPr/>
                <p:nvPr/>
              </p:nvSpPr>
              <p:spPr>
                <a:xfrm>
                  <a:off x="628649" y="2565054"/>
                  <a:ext cx="466969" cy="46696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tIns="72000" rtlCol="0" anchor="t"/>
                <a:lstStyle/>
                <a:p>
                  <a:pPr algn="ctr">
                    <a:lnSpc>
                      <a:spcPct val="100000"/>
                    </a:lnSpc>
                  </a:pPr>
                  <a:endParaRPr lang="en-GB" sz="1600"/>
                </a:p>
              </p:txBody>
            </p:sp>
            <p:sp>
              <p:nvSpPr>
                <p:cNvPr id="78" name="Freeform 19">
                  <a:extLst>
                    <a:ext uri="{FF2B5EF4-FFF2-40B4-BE49-F238E27FC236}">
                      <a16:creationId xmlns:a16="http://schemas.microsoft.com/office/drawing/2014/main" id="{C1382A07-78A8-AAB1-A283-ED490F2154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72133" y="2633266"/>
                  <a:ext cx="180000" cy="330545"/>
                </a:xfrm>
                <a:custGeom>
                  <a:avLst/>
                  <a:gdLst>
                    <a:gd name="T0" fmla="*/ 2 w 109"/>
                    <a:gd name="T1" fmla="*/ 2 h 200"/>
                    <a:gd name="T2" fmla="*/ 11 w 109"/>
                    <a:gd name="T3" fmla="*/ 2 h 200"/>
                    <a:gd name="T4" fmla="*/ 109 w 109"/>
                    <a:gd name="T5" fmla="*/ 100 h 200"/>
                    <a:gd name="T6" fmla="*/ 11 w 109"/>
                    <a:gd name="T7" fmla="*/ 199 h 200"/>
                    <a:gd name="T8" fmla="*/ 7 w 109"/>
                    <a:gd name="T9" fmla="*/ 200 h 200"/>
                    <a:gd name="T10" fmla="*/ 2 w 109"/>
                    <a:gd name="T11" fmla="*/ 199 h 200"/>
                    <a:gd name="T12" fmla="*/ 2 w 109"/>
                    <a:gd name="T13" fmla="*/ 190 h 200"/>
                    <a:gd name="T14" fmla="*/ 91 w 109"/>
                    <a:gd name="T15" fmla="*/ 100 h 200"/>
                    <a:gd name="T16" fmla="*/ 2 w 109"/>
                    <a:gd name="T17" fmla="*/ 11 h 200"/>
                    <a:gd name="T18" fmla="*/ 2 w 109"/>
                    <a:gd name="T19" fmla="*/ 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200">
                      <a:moveTo>
                        <a:pt x="2" y="2"/>
                      </a:move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109" y="100"/>
                        <a:pt x="109" y="100"/>
                        <a:pt x="109" y="100"/>
                      </a:cubicBezTo>
                      <a:cubicBezTo>
                        <a:pt x="11" y="199"/>
                        <a:pt x="11" y="199"/>
                        <a:pt x="11" y="199"/>
                      </a:cubicBezTo>
                      <a:cubicBezTo>
                        <a:pt x="10" y="200"/>
                        <a:pt x="8" y="200"/>
                        <a:pt x="7" y="200"/>
                      </a:cubicBezTo>
                      <a:cubicBezTo>
                        <a:pt x="5" y="200"/>
                        <a:pt x="3" y="200"/>
                        <a:pt x="2" y="199"/>
                      </a:cubicBezTo>
                      <a:cubicBezTo>
                        <a:pt x="0" y="196"/>
                        <a:pt x="0" y="192"/>
                        <a:pt x="2" y="190"/>
                      </a:cubicBezTo>
                      <a:cubicBezTo>
                        <a:pt x="91" y="100"/>
                        <a:pt x="91" y="100"/>
                        <a:pt x="91" y="10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7200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 dirty="0"/>
                </a:p>
              </p:txBody>
            </p:sp>
          </p:grpSp>
        </p:grpSp>
        <p:cxnSp>
          <p:nvCxnSpPr>
            <p:cNvPr id="74" name="Straight Connector 7">
              <a:extLst>
                <a:ext uri="{FF2B5EF4-FFF2-40B4-BE49-F238E27FC236}">
                  <a16:creationId xmlns:a16="http://schemas.microsoft.com/office/drawing/2014/main" id="{3DB58B27-49FF-BA5D-957D-F7312D74CC9D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0" y="3114675"/>
              <a:ext cx="6134100" cy="1588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pic>
        <p:nvPicPr>
          <p:cNvPr id="79" name="Obraz 78">
            <a:extLst>
              <a:ext uri="{FF2B5EF4-FFF2-40B4-BE49-F238E27FC236}">
                <a16:creationId xmlns:a16="http://schemas.microsoft.com/office/drawing/2014/main" id="{263E1D79-9A47-2432-F431-C0D3E63B732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17034" y="11277600"/>
            <a:ext cx="2333968" cy="2339877"/>
          </a:xfrm>
          <a:prstGeom prst="rect">
            <a:avLst/>
          </a:prstGeom>
        </p:spPr>
      </p:pic>
      <p:pic>
        <p:nvPicPr>
          <p:cNvPr id="89" name="Graphic 7">
            <a:extLst>
              <a:ext uri="{FF2B5EF4-FFF2-40B4-BE49-F238E27FC236}">
                <a16:creationId xmlns:a16="http://schemas.microsoft.com/office/drawing/2014/main" id="{B40295DC-193D-1B58-1A83-2D377E60D56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lc="http://schemas.openxmlformats.org/drawingml/2006/lockedCanvas"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7383152" y="7993400"/>
            <a:ext cx="2880000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65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Custom 16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2C388E"/>
      </a:accent1>
      <a:accent2>
        <a:srgbClr val="6D67A5"/>
      </a:accent2>
      <a:accent3>
        <a:srgbClr val="FAB417"/>
      </a:accent3>
      <a:accent4>
        <a:srgbClr val="7D7D7D"/>
      </a:accent4>
      <a:accent5>
        <a:srgbClr val="464646"/>
      </a:accent5>
      <a:accent6>
        <a:srgbClr val="262626"/>
      </a:accent6>
      <a:hlink>
        <a:srgbClr val="2C388E"/>
      </a:hlink>
      <a:folHlink>
        <a:srgbClr val="6D67A5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108000" tIns="0" rIns="0" bIns="0" rtlCol="0">
        <a:spAutoFit/>
      </a:bodyPr>
      <a:lstStyle>
        <a:defPPr algn="l">
          <a:lnSpc>
            <a:spcPct val="114000"/>
          </a:lnSpc>
          <a:defRPr sz="1500" dirty="0">
            <a:latin typeface="Arial" panose="020B0604020202020204" pitchFamily="34" charset="0"/>
            <a:cs typeface="Times New Roman" panose="02020603050405020304" pitchFamily="18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 08Oct2018" id="{BF377696-7D08-47D2-AF19-27D76F4E8FB7}" vid="{71BF8C14-62C8-40A5-97EF-74ED9907CD5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9E5DBD367AD47A6555A5AF6710CE9" ma:contentTypeVersion="10" ma:contentTypeDescription="Create a new document." ma:contentTypeScope="" ma:versionID="7e3d0fc721899f2796aed3709a577d4e">
  <xsd:schema xmlns:xsd="http://www.w3.org/2001/XMLSchema" xmlns:xs="http://www.w3.org/2001/XMLSchema" xmlns:p="http://schemas.microsoft.com/office/2006/metadata/properties" xmlns:ns2="8191723f-b168-4802-972b-3b5385e435a6" xmlns:ns3="bf3f9575-65b8-4549-b389-33a18b8943d7" targetNamespace="http://schemas.microsoft.com/office/2006/metadata/properties" ma:root="true" ma:fieldsID="e9f2282e93837f7cd72a524b46970754" ns2:_="" ns3:_="">
    <xsd:import namespace="8191723f-b168-4802-972b-3b5385e435a6"/>
    <xsd:import namespace="bf3f9575-65b8-4549-b389-33a18b8943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91723f-b168-4802-972b-3b5385e435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f9575-65b8-4549-b389-33a18b8943d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1b7f5470-db2b-44c5-bdf3-2959f2d5f7de}" ma:internalName="TaxCatchAll" ma:showField="CatchAllData" ma:web="bf3f9575-65b8-4549-b389-33a18b8943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f3f9575-65b8-4549-b389-33a18b8943d7" xsi:nil="true"/>
    <lcf76f155ced4ddcb4097134ff3c332f xmlns="8191723f-b168-4802-972b-3b5385e435a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15BD411-8BB5-4F9A-BB34-7E8E591FAF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91723f-b168-4802-972b-3b5385e435a6"/>
    <ds:schemaRef ds:uri="bf3f9575-65b8-4549-b389-33a18b894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26A244F-0E4D-4D7A-9A41-11BD5C7EEB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9FDC01-826D-440A-8313-55C2BB59AFE3}">
  <ds:schemaRefs>
    <ds:schemaRef ds:uri="http://schemas.microsoft.com/office/2006/metadata/properties"/>
    <ds:schemaRef ds:uri="http://schemas.microsoft.com/office/infopath/2007/PartnerControls"/>
    <ds:schemaRef ds:uri="bf3f9575-65b8-4549-b389-33a18b8943d7"/>
    <ds:schemaRef ds:uri="8191723f-b168-4802-972b-3b5385e435a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_16x9_BrandUpdate_2018</Template>
  <TotalTime>1595</TotalTime>
  <Words>100</Words>
  <Application>Microsoft Office PowerPoint</Application>
  <PresentationFormat>Niestandardowy</PresentationFormat>
  <Paragraphs>9</Paragraphs>
  <Slides>1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</vt:i4>
      </vt:variant>
    </vt:vector>
  </HeadingPairs>
  <TitlesOfParts>
    <vt:vector size="6" baseType="lpstr">
      <vt:lpstr>Arial</vt:lpstr>
      <vt:lpstr>Georgia</vt:lpstr>
      <vt:lpstr>Times New Roman</vt:lpstr>
      <vt:lpstr>PwC</vt:lpstr>
      <vt:lpstr>think-cell Slide</vt:lpstr>
      <vt:lpstr>Prezentacja programu PowerPoint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grafiki - Komunikacja i zasady savoir-vivre’u</dc:title>
  <dc:subject/>
  <dc:creator>Dorota Joziak</dc:creator>
  <cp:keywords/>
  <dc:description/>
  <cp:lastModifiedBy>Działdowska Wioleta</cp:lastModifiedBy>
  <cp:revision>156</cp:revision>
  <dcterms:created xsi:type="dcterms:W3CDTF">2018-11-30T12:52:36Z</dcterms:created>
  <dcterms:modified xsi:type="dcterms:W3CDTF">2023-10-26T07:35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9E5DBD367AD47A6555A5AF6710CE9</vt:lpwstr>
  </property>
  <property fmtid="{D5CDD505-2E9C-101B-9397-08002B2CF9AE}" pid="3" name="MFCATEGORY">
    <vt:lpwstr>InformacjePubliczneInformacjeSektoraPublicznego</vt:lpwstr>
  </property>
  <property fmtid="{D5CDD505-2E9C-101B-9397-08002B2CF9AE}" pid="4" name="MFClassifiedBy">
    <vt:lpwstr>UxC4dwLulzfINJ8nQH+xvX5LNGipWa4BRSZhPgxsCvm1l3EYFhmlvl6IFHmMvmOwF8dQCdla2BMANZKxawuKcA==</vt:lpwstr>
  </property>
  <property fmtid="{D5CDD505-2E9C-101B-9397-08002B2CF9AE}" pid="5" name="MFClassificationDate">
    <vt:lpwstr>2023-10-26T09:28:41.1633842+02:00</vt:lpwstr>
  </property>
  <property fmtid="{D5CDD505-2E9C-101B-9397-08002B2CF9AE}" pid="6" name="MFClassifiedBySID">
    <vt:lpwstr>UxC4dwLulzfINJ8nQH+xvX5LNGipWa4BRSZhPgxsCvm42mrIC/DSDv0ggS+FjUN/2v1BBotkLlY5aAiEhoi6ubOfItH2NwT+2IoXWVY+DV1XIBuf/XbBWRcMeNjHf8zy</vt:lpwstr>
  </property>
  <property fmtid="{D5CDD505-2E9C-101B-9397-08002B2CF9AE}" pid="7" name="MFGRNItemId">
    <vt:lpwstr>GRN-fd3f0960-6a31-49fd-89ca-30baf8f6aa4f</vt:lpwstr>
  </property>
  <property fmtid="{D5CDD505-2E9C-101B-9397-08002B2CF9AE}" pid="8" name="MFHash">
    <vt:lpwstr>6927VxPa89vQiuedFEzWz54G05Y+YFvEn4CCL/QA0zc=</vt:lpwstr>
  </property>
  <property fmtid="{D5CDD505-2E9C-101B-9397-08002B2CF9AE}" pid="9" name="DLPManualFileClassification">
    <vt:lpwstr>{2755b7d9-e53d-4779-a40c-03797dcf43b3}</vt:lpwstr>
  </property>
  <property fmtid="{D5CDD505-2E9C-101B-9397-08002B2CF9AE}" pid="10" name="MFRefresh">
    <vt:lpwstr>False</vt:lpwstr>
  </property>
</Properties>
</file>